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8"/>
  </p:notesMasterIdLst>
  <p:sldIdLst>
    <p:sldId id="256" r:id="rId5"/>
    <p:sldId id="2147374163" r:id="rId6"/>
    <p:sldId id="286" r:id="rId7"/>
  </p:sldIdLst>
  <p:sldSz cx="12192000" cy="6858000"/>
  <p:notesSz cx="6858000" cy="9144000"/>
  <p:custDataLst>
    <p:tags r:id="rId9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200CF4-F120-79D2-483F-64F5B1AAE596}" name="Miguel Marulanda Lopez" initials="MML" userId="S::miguel.marulanda@cenit-transporte.com::e9f8178e-cdf0-48c4-8954-1e05097449c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E66"/>
    <a:srgbClr val="D5DA40"/>
    <a:srgbClr val="94C4E8"/>
    <a:srgbClr val="A9C6E5"/>
    <a:srgbClr val="2C69A0"/>
    <a:srgbClr val="224F66"/>
    <a:srgbClr val="5089BC"/>
    <a:srgbClr val="97B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494876-7D77-40FF-9EBB-0C079CEAA4C7}" v="2" dt="2023-11-03T14:24:01.9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576C4D-D343-450C-B831-14BCD08B42EC}" type="datetimeFigureOut">
              <a:rPr lang="es-CO" smtClean="0"/>
              <a:t>3/11/2023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AC7A9-B624-44DF-B336-3317D43C4C9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00889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672AD534-3FC9-10DC-96A1-5086D6E51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702686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63D09D64-34EA-9F27-0037-856389EF6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BB97E4E5-8D32-2491-CCFA-C6E29047ED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EA717295-9022-4A79-6F27-C7C842C4E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6866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30122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ítulo 1">
            <a:extLst>
              <a:ext uri="{FF2B5EF4-FFF2-40B4-BE49-F238E27FC236}">
                <a16:creationId xmlns:a16="http://schemas.microsoft.com/office/drawing/2014/main" id="{0B8B4367-6B4E-675A-5143-A3FFF5005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113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753798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ítulo 1">
            <a:extLst>
              <a:ext uri="{FF2B5EF4-FFF2-40B4-BE49-F238E27FC236}">
                <a16:creationId xmlns:a16="http://schemas.microsoft.com/office/drawing/2014/main" id="{A62C61B6-91F6-26CF-4A38-C25CBFCB0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113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17709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n con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ítulo 1">
            <a:extLst>
              <a:ext uri="{FF2B5EF4-FFF2-40B4-BE49-F238E27FC236}">
                <a16:creationId xmlns:a16="http://schemas.microsoft.com/office/drawing/2014/main" id="{445D6C47-647B-A94A-8BC6-509FD430B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113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67756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texto vertic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9C24F1AF-D231-C302-A706-874EC1EAC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113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380434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vertical y tex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22140B39-D0E2-F719-31FF-1264232B9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113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8486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498305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991015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2452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672AD534-3FC9-10DC-96A1-5086D6E51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93199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538907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1D9D815-6DEA-85A9-2B8B-CBCF27F6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539E7F80-D7B2-0612-6AF0-600B3805CA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8" name="Marcador de número de diapositiva 5">
            <a:extLst>
              <a:ext uri="{FF2B5EF4-FFF2-40B4-BE49-F238E27FC236}">
                <a16:creationId xmlns:a16="http://schemas.microsoft.com/office/drawing/2014/main" id="{F8D1CA65-C818-2E20-B4D4-BEB5C167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376951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42BD7C-42A5-E57B-77B3-D4FDA132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78839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57408E-A7E9-6A32-E97E-6D191F5329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11043250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C84882-D5A6-7133-CAAF-5CA8B278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2283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42BD7C-42A5-E57B-77B3-D4FDA132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78839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57408E-A7E9-6A32-E97E-6D191F5329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11043250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C84882-D5A6-7133-CAAF-5CA8B278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49066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42BD7C-42A5-E57B-77B3-D4FDA132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78839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57408E-A7E9-6A32-E97E-6D191F5329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11043250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C84882-D5A6-7133-CAAF-5CA8B278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173798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42BD7C-42A5-E57B-77B3-D4FDA132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580" y="2287183"/>
            <a:ext cx="9678839" cy="990809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57408E-A7E9-6A32-E97E-6D191F5329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4374" y="3614514"/>
            <a:ext cx="11043250" cy="21197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 algn="ctr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C84882-D5A6-7133-CAAF-5CA8B278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6033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80B0FF9-A1B2-5DDF-9A09-B9D4011B7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10596" y="2449903"/>
            <a:ext cx="7970807" cy="14780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6600"/>
            </a:lvl1pPr>
          </a:lstStyle>
          <a:p>
            <a:r>
              <a:rPr lang="es-ES"/>
              <a:t>¡GRACIAS!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93945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44F59835-0934-4942-A915-D7A924081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4A6B4-095D-4B9C-B994-4F36F370FB08}" type="datetimeFigureOut">
              <a:rPr lang="es-CO" smtClean="0"/>
              <a:t>3/11/2023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EB1A74F-6475-49F6-9DEE-0CC28530B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72D9879F-8D06-4BD8-AE5F-D93C0A849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41DD90-E842-4D17-BA23-6000800B2023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2578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82644723-6A5D-F060-4EE7-5DEE01EDE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31421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82644723-6A5D-F060-4EE7-5DEE01EDE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01496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82644723-6A5D-F060-4EE7-5DEE01EDE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94250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>
            <a:extLst>
              <a:ext uri="{FF2B5EF4-FFF2-40B4-BE49-F238E27FC236}">
                <a16:creationId xmlns:a16="http://schemas.microsoft.com/office/drawing/2014/main" id="{82644723-6A5D-F060-4EE7-5DEE01EDE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1446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42BD7C-42A5-E57B-77B3-D4FDA132E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78839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457408E-A7E9-6A32-E97E-6D191F5329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11043250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C84882-D5A6-7133-CAAF-5CA8B278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21159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1">
            <a:extLst>
              <a:ext uri="{FF2B5EF4-FFF2-40B4-BE49-F238E27FC236}">
                <a16:creationId xmlns:a16="http://schemas.microsoft.com/office/drawing/2014/main" id="{562AF622-2441-08FE-9053-C4827BC9D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11" name="Marcador de contenido 2">
            <a:extLst>
              <a:ext uri="{FF2B5EF4-FFF2-40B4-BE49-F238E27FC236}">
                <a16:creationId xmlns:a16="http://schemas.microsoft.com/office/drawing/2014/main" id="{6F70FAE7-3438-DC00-7D9E-DFACC64DD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12" name="Marcador de número de diapositiva 5">
            <a:extLst>
              <a:ext uri="{FF2B5EF4-FFF2-40B4-BE49-F238E27FC236}">
                <a16:creationId xmlns:a16="http://schemas.microsoft.com/office/drawing/2014/main" id="{C7040469-48A2-3A43-4DCE-917F993F2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09604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:a16="http://schemas.microsoft.com/office/drawing/2014/main" id="{CDA48E6C-15B7-33B1-2E48-53CEBF365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549" y="248398"/>
            <a:ext cx="9609827" cy="9908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9" name="Marcador de contenido 2">
            <a:extLst>
              <a:ext uri="{FF2B5EF4-FFF2-40B4-BE49-F238E27FC236}">
                <a16:creationId xmlns:a16="http://schemas.microsoft.com/office/drawing/2014/main" id="{2CD99915-DDD4-79D2-EBCA-7BE58B5E8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10550" y="1483743"/>
            <a:ext cx="6124756" cy="42418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5875" indent="0">
              <a:buNone/>
              <a:tabLst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s-ES"/>
              <a:t>Segundo nivel</a:t>
            </a:r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0CCAC234-3032-C5EF-6B75-487489D96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8185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088A4-D2D8-6546-95D4-25715671DAEB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63820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AE308DF-9FFF-D450-90A9-AED4D16E6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38499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1" imgW="395" imgH="396" progId="TCLayout.ActiveDocument.1">
                  <p:embed/>
                </p:oleObj>
              </mc:Choice>
              <mc:Fallback>
                <p:oleObj name="Diapositiva de think-cell" r:id="rId31" imgW="395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AE308DF-9FFF-D450-90A9-AED4D16E6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A67D2D3-CBE2-254F-EC59-DB38128C8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664" y="2291721"/>
            <a:ext cx="5781136" cy="2274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5805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C81643EA-8D00-A17F-5FF8-4C8DF7DF0E24}"/>
              </a:ext>
            </a:extLst>
          </p:cNvPr>
          <p:cNvSpPr txBox="1">
            <a:spLocks/>
          </p:cNvSpPr>
          <p:nvPr/>
        </p:nvSpPr>
        <p:spPr>
          <a:xfrm>
            <a:off x="5500913" y="1744423"/>
            <a:ext cx="6395812" cy="1684577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6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estructura</a:t>
            </a:r>
            <a:endParaRPr kumimoji="0" lang="es-ES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4000" b="1" dirty="0">
                <a:solidFill>
                  <a:srgbClr val="D6DB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tA1</a:t>
            </a:r>
            <a:endParaRPr kumimoji="0" lang="es-ES" sz="4000" b="1" i="0" u="none" strike="noStrike" kern="1200" cap="none" spc="0" normalizeH="0" baseline="0" noProof="0" dirty="0">
              <a:ln>
                <a:noFill/>
              </a:ln>
              <a:solidFill>
                <a:srgbClr val="D6DB4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10B83E53-0249-5181-77D5-9F7D6095D187}"/>
              </a:ext>
            </a:extLst>
          </p:cNvPr>
          <p:cNvCxnSpPr>
            <a:cxnSpLocks/>
          </p:cNvCxnSpPr>
          <p:nvPr/>
        </p:nvCxnSpPr>
        <p:spPr>
          <a:xfrm>
            <a:off x="5500914" y="3715066"/>
            <a:ext cx="5500915" cy="0"/>
          </a:xfrm>
          <a:prstGeom prst="line">
            <a:avLst/>
          </a:prstGeom>
          <a:ln>
            <a:solidFill>
              <a:srgbClr val="C2D8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ítulo 1">
            <a:extLst>
              <a:ext uri="{FF2B5EF4-FFF2-40B4-BE49-F238E27FC236}">
                <a16:creationId xmlns:a16="http://schemas.microsoft.com/office/drawing/2014/main" id="{E046AE24-3B33-4352-1254-7C2231CBC2F3}"/>
              </a:ext>
            </a:extLst>
          </p:cNvPr>
          <p:cNvSpPr txBox="1">
            <a:spLocks/>
          </p:cNvSpPr>
          <p:nvPr/>
        </p:nvSpPr>
        <p:spPr>
          <a:xfrm>
            <a:off x="5500913" y="3892325"/>
            <a:ext cx="5706585" cy="389178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oviembre 2023</a:t>
            </a:r>
            <a:endParaRPr kumimoji="0" lang="es-ES" sz="3200" b="0" i="0" u="none" strike="noStrike" kern="1200" cap="none" spc="0" normalizeH="0" baseline="0" noProof="0" dirty="0">
              <a:ln>
                <a:noFill/>
              </a:ln>
              <a:solidFill>
                <a:srgbClr val="D6DB4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9CA60B2-91C6-7F17-6C89-60981F39AA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74" y="5992583"/>
            <a:ext cx="3681413" cy="76540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C18D8715-8DF7-2EA9-2A73-E4E17E7E09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18021" y="4907732"/>
            <a:ext cx="2303008" cy="230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64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9A2FD9C3-9FDA-98C1-414C-08484644D9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91423" y="-138904"/>
            <a:ext cx="1062377" cy="1062377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E1486C9-80F8-4BB3-4766-73CC34FB36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6000" y="-173262"/>
            <a:ext cx="1159670" cy="115967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4DF5325-A01A-B4C1-AFFD-981172524CAA}"/>
              </a:ext>
            </a:extLst>
          </p:cNvPr>
          <p:cNvSpPr txBox="1">
            <a:spLocks/>
          </p:cNvSpPr>
          <p:nvPr/>
        </p:nvSpPr>
        <p:spPr>
          <a:xfrm>
            <a:off x="0" y="12272"/>
            <a:ext cx="11088914" cy="593781"/>
          </a:xfrm>
          <a:prstGeom prst="rect">
            <a:avLst/>
          </a:prstGeom>
        </p:spPr>
        <p:txBody>
          <a:bodyPr lIns="10800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ogística Transporte de Jet A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 por 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liductos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bd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</a:t>
            </a:r>
            <a:endParaRPr kumimoji="0" lang="es-ES" sz="24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manda – Infraestructura 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2" name="Imagen 11" descr="Mapa de una ciudad&#10;&#10;Descripción generada automáticamente con confianza media">
            <a:extLst>
              <a:ext uri="{FF2B5EF4-FFF2-40B4-BE49-F238E27FC236}">
                <a16:creationId xmlns:a16="http://schemas.microsoft.com/office/drawing/2014/main" id="{DBF310F5-D061-7EB8-B72B-F439138AFA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5087" y="1300706"/>
            <a:ext cx="9132722" cy="5367777"/>
          </a:xfrm>
          <a:prstGeom prst="rect">
            <a:avLst/>
          </a:prstGeom>
        </p:spPr>
      </p:pic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7CC6EE07-EBCD-54FF-2431-86BB355FB4CB}"/>
              </a:ext>
            </a:extLst>
          </p:cNvPr>
          <p:cNvCxnSpPr/>
          <p:nvPr/>
        </p:nvCxnSpPr>
        <p:spPr>
          <a:xfrm>
            <a:off x="6848832" y="4102205"/>
            <a:ext cx="1063255" cy="7017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4D806AA5-0890-1137-4414-F9B2D2312A39}"/>
              </a:ext>
            </a:extLst>
          </p:cNvPr>
          <p:cNvCxnSpPr/>
          <p:nvPr/>
        </p:nvCxnSpPr>
        <p:spPr>
          <a:xfrm>
            <a:off x="6554654" y="4658651"/>
            <a:ext cx="1063255" cy="7017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: angular 30">
            <a:extLst>
              <a:ext uri="{FF2B5EF4-FFF2-40B4-BE49-F238E27FC236}">
                <a16:creationId xmlns:a16="http://schemas.microsoft.com/office/drawing/2014/main" id="{26F75250-3B2A-6ECD-E3AE-1580B517E70B}"/>
              </a:ext>
            </a:extLst>
          </p:cNvPr>
          <p:cNvCxnSpPr/>
          <p:nvPr/>
        </p:nvCxnSpPr>
        <p:spPr>
          <a:xfrm>
            <a:off x="9382995" y="1752410"/>
            <a:ext cx="464218" cy="378028"/>
          </a:xfrm>
          <a:prstGeom prst="bentConnector3">
            <a:avLst>
              <a:gd name="adj1" fmla="val -16422"/>
            </a:avLst>
          </a:prstGeom>
          <a:ln w="28575">
            <a:solidFill>
              <a:schemeClr val="bg1">
                <a:lumMod val="9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4" name="Tabla 73">
            <a:extLst>
              <a:ext uri="{FF2B5EF4-FFF2-40B4-BE49-F238E27FC236}">
                <a16:creationId xmlns:a16="http://schemas.microsoft.com/office/drawing/2014/main" id="{6582DC23-5679-3719-122C-CA5157826F57}"/>
              </a:ext>
            </a:extLst>
          </p:cNvPr>
          <p:cNvGraphicFramePr>
            <a:graphicFrameLocks noGrp="1"/>
          </p:cNvGraphicFramePr>
          <p:nvPr/>
        </p:nvGraphicFramePr>
        <p:xfrm>
          <a:off x="192529" y="717523"/>
          <a:ext cx="4207541" cy="915038"/>
        </p:xfrm>
        <a:graphic>
          <a:graphicData uri="http://schemas.openxmlformats.org/drawingml/2006/table">
            <a:tbl>
              <a:tblPr/>
              <a:tblGrid>
                <a:gridCol w="2163045">
                  <a:extLst>
                    <a:ext uri="{9D8B030D-6E8A-4147-A177-3AD203B41FA5}">
                      <a16:colId xmlns:a16="http://schemas.microsoft.com/office/drawing/2014/main" val="122287779"/>
                    </a:ext>
                  </a:extLst>
                </a:gridCol>
                <a:gridCol w="367748">
                  <a:extLst>
                    <a:ext uri="{9D8B030D-6E8A-4147-A177-3AD203B41FA5}">
                      <a16:colId xmlns:a16="http://schemas.microsoft.com/office/drawing/2014/main" val="1517749760"/>
                    </a:ext>
                  </a:extLst>
                </a:gridCol>
                <a:gridCol w="1676748">
                  <a:extLst>
                    <a:ext uri="{9D8B030D-6E8A-4147-A177-3AD203B41FA5}">
                      <a16:colId xmlns:a16="http://schemas.microsoft.com/office/drawing/2014/main" val="2544251346"/>
                    </a:ext>
                  </a:extLst>
                </a:gridCol>
              </a:tblGrid>
              <a:tr h="25844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tención Demanda Jet A – 1 Interior </a:t>
                      </a:r>
                      <a:r>
                        <a:rPr lang="es-ES" sz="8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kbd)</a:t>
                      </a:r>
                      <a:endParaRPr lang="es-ES" sz="9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03668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Demanda del Interio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1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9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00" b="1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(22 Poli + 7 carrotanques Cartagena +  Baranoa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95105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Transporte por Poliducto desde GR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1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00" b="1" i="0" u="none" strike="noStrike" kern="120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20.0 Mansilla + 2.0 Occidente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49006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1" i="0" u="none" strike="noStrike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</a:rPr>
                        <a:t>Transporte por Poliducto desde GRC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1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00" b="1" i="0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(1.8 Local + 4.2 interior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81085"/>
                  </a:ext>
                </a:extLst>
              </a:tr>
            </a:tbl>
          </a:graphicData>
        </a:graphic>
      </p:graphicFrame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9588B2B5-03D4-6BB5-5434-A972AB2C4496}"/>
              </a:ext>
            </a:extLst>
          </p:cNvPr>
          <p:cNvGraphicFramePr>
            <a:graphicFrameLocks noGrp="1"/>
          </p:cNvGraphicFramePr>
          <p:nvPr/>
        </p:nvGraphicFramePr>
        <p:xfrm>
          <a:off x="2050258" y="2511271"/>
          <a:ext cx="2689087" cy="1555118"/>
        </p:xfrm>
        <a:graphic>
          <a:graphicData uri="http://schemas.openxmlformats.org/drawingml/2006/table">
            <a:tbl>
              <a:tblPr/>
              <a:tblGrid>
                <a:gridCol w="873947">
                  <a:extLst>
                    <a:ext uri="{9D8B030D-6E8A-4147-A177-3AD203B41FA5}">
                      <a16:colId xmlns:a16="http://schemas.microsoft.com/office/drawing/2014/main" val="122287779"/>
                    </a:ext>
                  </a:extLst>
                </a:gridCol>
                <a:gridCol w="775781">
                  <a:extLst>
                    <a:ext uri="{9D8B030D-6E8A-4147-A177-3AD203B41FA5}">
                      <a16:colId xmlns:a16="http://schemas.microsoft.com/office/drawing/2014/main" val="1517749760"/>
                    </a:ext>
                  </a:extLst>
                </a:gridCol>
                <a:gridCol w="1039359">
                  <a:extLst>
                    <a:ext uri="{9D8B030D-6E8A-4147-A177-3AD203B41FA5}">
                      <a16:colId xmlns:a16="http://schemas.microsoft.com/office/drawing/2014/main" val="2544251346"/>
                    </a:ext>
                  </a:extLst>
                </a:gridCol>
              </a:tblGrid>
              <a:tr h="25844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nfraestructura Occidente (</a:t>
                      </a:r>
                      <a:r>
                        <a:rPr lang="es-E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ES" sz="900" b="0" i="0" u="none" strike="noStrike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03668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entro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anques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apacidad total (</a:t>
                      </a:r>
                      <a:r>
                        <a:rPr lang="es-E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10057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</a:t>
                      </a:r>
                      <a:r>
                        <a:rPr lang="es-CO" sz="900" b="0" i="0" u="none" strike="noStrike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rardota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 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.5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951051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edellí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 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.0</a:t>
                      </a:r>
                      <a:endParaRPr lang="es-CO" sz="85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49006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artago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 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.5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8108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ulaló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7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800716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Yumbo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0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602068"/>
                  </a:ext>
                </a:extLst>
              </a:tr>
            </a:tbl>
          </a:graphicData>
        </a:graphic>
      </p:graphicFrame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13500F6E-785D-3574-7423-A8CE861687C9}"/>
              </a:ext>
            </a:extLst>
          </p:cNvPr>
          <p:cNvGraphicFramePr>
            <a:graphicFrameLocks noGrp="1"/>
          </p:cNvGraphicFramePr>
          <p:nvPr/>
        </p:nvGraphicFramePr>
        <p:xfrm>
          <a:off x="6361667" y="1049377"/>
          <a:ext cx="2689087" cy="742318"/>
        </p:xfrm>
        <a:graphic>
          <a:graphicData uri="http://schemas.openxmlformats.org/drawingml/2006/table">
            <a:tbl>
              <a:tblPr/>
              <a:tblGrid>
                <a:gridCol w="873947">
                  <a:extLst>
                    <a:ext uri="{9D8B030D-6E8A-4147-A177-3AD203B41FA5}">
                      <a16:colId xmlns:a16="http://schemas.microsoft.com/office/drawing/2014/main" val="122287779"/>
                    </a:ext>
                  </a:extLst>
                </a:gridCol>
                <a:gridCol w="775781">
                  <a:extLst>
                    <a:ext uri="{9D8B030D-6E8A-4147-A177-3AD203B41FA5}">
                      <a16:colId xmlns:a16="http://schemas.microsoft.com/office/drawing/2014/main" val="1517749760"/>
                    </a:ext>
                  </a:extLst>
                </a:gridCol>
                <a:gridCol w="1039359">
                  <a:extLst>
                    <a:ext uri="{9D8B030D-6E8A-4147-A177-3AD203B41FA5}">
                      <a16:colId xmlns:a16="http://schemas.microsoft.com/office/drawing/2014/main" val="2544251346"/>
                    </a:ext>
                  </a:extLst>
                </a:gridCol>
              </a:tblGrid>
              <a:tr h="25844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nfraestructura Norte (</a:t>
                      </a:r>
                      <a:r>
                        <a:rPr lang="es-E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ES" sz="900" b="0" i="0" u="none" strike="noStrike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036685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entro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anques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apacidad total (</a:t>
                      </a:r>
                      <a:r>
                        <a:rPr lang="es-E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100570"/>
                  </a:ext>
                </a:extLst>
              </a:tr>
              <a:tr h="20320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orte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1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951051"/>
                  </a:ext>
                </a:extLst>
              </a:tr>
            </a:tbl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A6FBFE63-3E25-0247-D588-EDAD2EB4335E}"/>
              </a:ext>
            </a:extLst>
          </p:cNvPr>
          <p:cNvGraphicFramePr>
            <a:graphicFrameLocks noGrp="1"/>
          </p:cNvGraphicFramePr>
          <p:nvPr/>
        </p:nvGraphicFramePr>
        <p:xfrm>
          <a:off x="8847867" y="4249861"/>
          <a:ext cx="2972803" cy="1966265"/>
        </p:xfrm>
        <a:graphic>
          <a:graphicData uri="http://schemas.openxmlformats.org/drawingml/2006/table">
            <a:tbl>
              <a:tblPr/>
              <a:tblGrid>
                <a:gridCol w="966154">
                  <a:extLst>
                    <a:ext uri="{9D8B030D-6E8A-4147-A177-3AD203B41FA5}">
                      <a16:colId xmlns:a16="http://schemas.microsoft.com/office/drawing/2014/main" val="122287779"/>
                    </a:ext>
                  </a:extLst>
                </a:gridCol>
                <a:gridCol w="857631">
                  <a:extLst>
                    <a:ext uri="{9D8B030D-6E8A-4147-A177-3AD203B41FA5}">
                      <a16:colId xmlns:a16="http://schemas.microsoft.com/office/drawing/2014/main" val="1517749760"/>
                    </a:ext>
                  </a:extLst>
                </a:gridCol>
                <a:gridCol w="1149018">
                  <a:extLst>
                    <a:ext uri="{9D8B030D-6E8A-4147-A177-3AD203B41FA5}">
                      <a16:colId xmlns:a16="http://schemas.microsoft.com/office/drawing/2014/main" val="2544251346"/>
                    </a:ext>
                  </a:extLst>
                </a:gridCol>
              </a:tblGrid>
              <a:tr h="311271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nfraestructura Galán - Mansilla (</a:t>
                      </a:r>
                      <a:r>
                        <a:rPr lang="es-ES" sz="900" b="1" i="0" u="none" strike="noStrike" err="1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ES" sz="900" b="0" i="0" u="none" strike="noStrike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036685"/>
                  </a:ext>
                </a:extLst>
              </a:tr>
              <a:tr h="244731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entro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anques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apacidad total (</a:t>
                      </a:r>
                      <a:r>
                        <a:rPr lang="es-ES" sz="900" b="0" i="0" u="none" strike="noStrike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bls</a:t>
                      </a:r>
                      <a:r>
                        <a:rPr lang="es-ES" sz="9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)</a:t>
                      </a:r>
                      <a:endParaRPr lang="es-CO" sz="9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100570"/>
                  </a:ext>
                </a:extLst>
              </a:tr>
              <a:tr h="244731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RB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8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951051"/>
                  </a:ext>
                </a:extLst>
              </a:tr>
              <a:tr h="33803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ebastop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 (Cenit)</a:t>
                      </a:r>
                    </a:p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 (Mayorista)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.0</a:t>
                      </a:r>
                    </a:p>
                    <a:p>
                      <a:pPr algn="ctr" fontAlgn="ctr"/>
                      <a:r>
                        <a:rPr lang="es-ES" sz="85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9.0</a:t>
                      </a:r>
                      <a:endParaRPr lang="es-CO" sz="850" b="0" i="0" u="none" strike="noStrike" kern="120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490060"/>
                  </a:ext>
                </a:extLst>
              </a:tr>
              <a:tr h="244731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alga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 (Cenit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2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581085"/>
                  </a:ext>
                </a:extLst>
              </a:tr>
              <a:tr h="338035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nsilla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 (Cenit)</a:t>
                      </a:r>
                    </a:p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 (Mayorista)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9.0</a:t>
                      </a:r>
                    </a:p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9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800716"/>
                  </a:ext>
                </a:extLst>
              </a:tr>
              <a:tr h="244731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uente Aranda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 (Mayorista)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85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.0</a:t>
                      </a:r>
                      <a:endParaRPr lang="es-CO" sz="85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602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4234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5A5D1530-604C-E341-5B53-F319E0756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/>
              <a:t>¡GRACIAS!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1C92552-EB43-C751-F28A-B009FECD3AF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291423" y="-138904"/>
            <a:ext cx="1062377" cy="106237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B26E2671-6544-ECFD-D7B2-88E1436BF1F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076000" y="-173262"/>
            <a:ext cx="1159670" cy="115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54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1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2C&quot; g=&quot;69&quot; b=&quot;A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7F3881317BCD94A97129206307469D2" ma:contentTypeVersion="2" ma:contentTypeDescription="Crear nuevo documento." ma:contentTypeScope="" ma:versionID="1c196344793963ba3e297580dac26e04">
  <xsd:schema xmlns:xsd="http://www.w3.org/2001/XMLSchema" xmlns:xs="http://www.w3.org/2001/XMLSchema" xmlns:p="http://schemas.microsoft.com/office/2006/metadata/properties" xmlns:ns2="df01a51d-83e1-43e6-b0d7-92ec35ad6911" targetNamespace="http://schemas.microsoft.com/office/2006/metadata/properties" ma:root="true" ma:fieldsID="04c12754d4282b6f002e59ed2eb572c5" ns2:_="">
    <xsd:import namespace="df01a51d-83e1-43e6-b0d7-92ec35ad6911"/>
    <xsd:element name="properties">
      <xsd:complexType>
        <xsd:sequence>
          <xsd:element name="documentManagement">
            <xsd:complexType>
              <xsd:all>
                <xsd:element ref="ns2:Formato" minOccurs="0"/>
                <xsd:element ref="ns2:mes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01a51d-83e1-43e6-b0d7-92ec35ad6911" elementFormDefault="qualified">
    <xsd:import namespace="http://schemas.microsoft.com/office/2006/documentManagement/types"/>
    <xsd:import namespace="http://schemas.microsoft.com/office/infopath/2007/PartnerControls"/>
    <xsd:element name="Formato" ma:index="8" nillable="true" ma:displayName="Formato" ma:default="/Style%20Library/Images/pdf.svg" ma:format="Dropdown" ma:internalName="Formato">
      <xsd:simpleType>
        <xsd:restriction base="dms:Choice">
          <xsd:enumeration value="/Style%20Library/Images/pdf.svg"/>
          <xsd:enumeration value="/Style%20Library/Images/doc.svg"/>
          <xsd:enumeration value="/Style%20Library/Images/xls.svg"/>
          <xsd:enumeration value="/Style%20Library/Images/ppt.svg"/>
          <xsd:enumeration value="/Style%20Library/Images/jpg.svg"/>
        </xsd:restriction>
      </xsd:simpleType>
    </xsd:element>
    <xsd:element name="mesa" ma:index="9" nillable="true" ma:displayName="mesa" ma:default="3" ma:format="Dropdown" ma:internalName="mesa">
      <xsd:simpleType>
        <xsd:restriction base="dms:Choice">
          <xsd:enumeration value="General"/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rmato xmlns="df01a51d-83e1-43e6-b0d7-92ec35ad6911">/Style%20Library/Images/ppt.svg</Formato>
    <mesa xmlns="df01a51d-83e1-43e6-b0d7-92ec35ad6911">2</mesa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61ABAA-78D6-40E0-ADA2-0601A70ABA40}"/>
</file>

<file path=customXml/itemProps2.xml><?xml version="1.0" encoding="utf-8"?>
<ds:datastoreItem xmlns:ds="http://schemas.openxmlformats.org/officeDocument/2006/customXml" ds:itemID="{AB39E877-4004-47BD-908B-B34F42C3E519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1d5470c5-e839-42ec-a7cb-d31972cd7dfa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362a07e-55ed-4dea-ba9f-121ed271f64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9C09015-E841-4887-A629-E6831C09FA8B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a4305987-cf78-4f93-9d64-bf18af65397b}" enabled="0" method="" siteId="{a4305987-cf78-4f93-9d64-bf18af65397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7770</TotalTime>
  <Words>167</Words>
  <Application>Microsoft Office PowerPoint</Application>
  <PresentationFormat>Panorámica</PresentationFormat>
  <Paragraphs>65</Paragraphs>
  <Slides>3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7" baseType="lpstr">
      <vt:lpstr>Arial</vt:lpstr>
      <vt:lpstr>Calibri</vt:lpstr>
      <vt:lpstr>1_Tema de Office</vt:lpstr>
      <vt:lpstr>Diapositiva de think-cell</vt:lpstr>
      <vt:lpstr>Presentación de PowerPoint</vt:lpstr>
      <vt:lpstr>Presentación de PowerPoint</vt:lpstr>
      <vt:lpstr>¡GRACIA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IT - Miguel Marulanda</dc:title>
  <dc:creator>Usuario</dc:creator>
  <cp:lastModifiedBy>Miguel Marulanda Lopez (CENIT)</cp:lastModifiedBy>
  <cp:revision>4</cp:revision>
  <dcterms:created xsi:type="dcterms:W3CDTF">2022-03-08T23:42:29Z</dcterms:created>
  <dcterms:modified xsi:type="dcterms:W3CDTF">2023-11-08T13:3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F3881317BCD94A97129206307469D2</vt:lpwstr>
  </property>
  <property fmtid="{D5CDD505-2E9C-101B-9397-08002B2CF9AE}" pid="3" name="Order">
    <vt:r8>515500</vt:r8>
  </property>
  <property fmtid="{D5CDD505-2E9C-101B-9397-08002B2CF9AE}" pid="4" name="TriggerFlowInfo">
    <vt:lpwstr/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MediaServiceImageTags">
    <vt:lpwstr/>
  </property>
</Properties>
</file>